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601" r:id="rId8"/>
    <p:sldId id="2147375597" r:id="rId9"/>
    <p:sldId id="2147375600" r:id="rId10"/>
    <p:sldId id="2147375602" r:id="rId11"/>
    <p:sldId id="2147375603" r:id="rId12"/>
    <p:sldId id="2147375604" r:id="rId13"/>
    <p:sldId id="2147375605" r:id="rId14"/>
    <p:sldId id="2147375606" r:id="rId15"/>
    <p:sldId id="2147375608" r:id="rId16"/>
    <p:sldId id="2147375607"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AD6432-D65F-488F-84DF-E8C8864F6DA3}" v="100" dt="2024-09-27T06:43:44.7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p:scale>
          <a:sx n="75" d="100"/>
          <a:sy n="75" d="100"/>
        </p:scale>
        <p:origin x="324" y="-564"/>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llipalli, Lakshmi Susmitha Jayasri SBOBNG-PTIY/AAF" userId="04856b88-c793-4769-a00b-f1847eebc676" providerId="ADAL" clId="{21AD6432-D65F-488F-84DF-E8C8864F6DA3}"/>
    <pc:docChg chg="undo redo custSel modSld sldOrd">
      <pc:chgData name="Jallipalli, Lakshmi Susmitha Jayasri SBOBNG-PTIY/AAF" userId="04856b88-c793-4769-a00b-f1847eebc676" providerId="ADAL" clId="{21AD6432-D65F-488F-84DF-E8C8864F6DA3}" dt="2024-09-27T06:43:44.704" v="1812" actId="14100"/>
      <pc:docMkLst>
        <pc:docMk/>
      </pc:docMkLst>
      <pc:sldChg chg="modSp mod">
        <pc:chgData name="Jallipalli, Lakshmi Susmitha Jayasri SBOBNG-PTIY/AAF" userId="04856b88-c793-4769-a00b-f1847eebc676" providerId="ADAL" clId="{21AD6432-D65F-488F-84DF-E8C8864F6DA3}" dt="2024-09-26T15:41:48.931" v="3" actId="20577"/>
        <pc:sldMkLst>
          <pc:docMk/>
          <pc:sldMk cId="3267775274" sldId="256"/>
        </pc:sldMkLst>
        <pc:spChg chg="mod">
          <ac:chgData name="Jallipalli, Lakshmi Susmitha Jayasri SBOBNG-PTIY/AAF" userId="04856b88-c793-4769-a00b-f1847eebc676" providerId="ADAL" clId="{21AD6432-D65F-488F-84DF-E8C8864F6DA3}" dt="2024-09-26T15:41:48.931" v="3" actId="20577"/>
          <ac:spMkLst>
            <pc:docMk/>
            <pc:sldMk cId="3267775274" sldId="256"/>
            <ac:spMk id="13" creationId="{C48F8DD6-A1B3-8126-FAC3-218B712C7FFB}"/>
          </ac:spMkLst>
        </pc:spChg>
      </pc:sldChg>
      <pc:sldChg chg="addSp delSp modSp mod">
        <pc:chgData name="Jallipalli, Lakshmi Susmitha Jayasri SBOBNG-PTIY/AAF" userId="04856b88-c793-4769-a00b-f1847eebc676" providerId="ADAL" clId="{21AD6432-D65F-488F-84DF-E8C8864F6DA3}" dt="2024-09-27T06:42:26.446" v="1797" actId="14100"/>
        <pc:sldMkLst>
          <pc:docMk/>
          <pc:sldMk cId="245881457" sldId="2147375597"/>
        </pc:sldMkLst>
        <pc:spChg chg="mod">
          <ac:chgData name="Jallipalli, Lakshmi Susmitha Jayasri SBOBNG-PTIY/AAF" userId="04856b88-c793-4769-a00b-f1847eebc676" providerId="ADAL" clId="{21AD6432-D65F-488F-84DF-E8C8864F6DA3}" dt="2024-09-26T15:53:06.112" v="111" actId="20577"/>
          <ac:spMkLst>
            <pc:docMk/>
            <pc:sldMk cId="245881457" sldId="2147375597"/>
            <ac:spMk id="3" creationId="{CEA128C4-A0BC-A895-713C-306E7FF62894}"/>
          </ac:spMkLst>
        </pc:spChg>
        <pc:spChg chg="mod">
          <ac:chgData name="Jallipalli, Lakshmi Susmitha Jayasri SBOBNG-PTIY/AAF" userId="04856b88-c793-4769-a00b-f1847eebc676" providerId="ADAL" clId="{21AD6432-D65F-488F-84DF-E8C8864F6DA3}" dt="2024-09-26T16:04:13.197" v="594" actId="20577"/>
          <ac:spMkLst>
            <pc:docMk/>
            <pc:sldMk cId="245881457" sldId="2147375597"/>
            <ac:spMk id="11" creationId="{DE9F1BE0-7910-FA1B-DCE8-56EFD1E4FC09}"/>
          </ac:spMkLst>
        </pc:spChg>
        <pc:picChg chg="del">
          <ac:chgData name="Jallipalli, Lakshmi Susmitha Jayasri SBOBNG-PTIY/AAF" userId="04856b88-c793-4769-a00b-f1847eebc676" providerId="ADAL" clId="{21AD6432-D65F-488F-84DF-E8C8864F6DA3}" dt="2024-09-26T15:57:11.597" v="539" actId="478"/>
          <ac:picMkLst>
            <pc:docMk/>
            <pc:sldMk cId="245881457" sldId="2147375597"/>
            <ac:picMk id="14" creationId="{F7E9C819-0EBE-9E64-6739-DAB98A27F6DE}"/>
          </ac:picMkLst>
        </pc:picChg>
        <pc:picChg chg="add del mod">
          <ac:chgData name="Jallipalli, Lakshmi Susmitha Jayasri SBOBNG-PTIY/AAF" userId="04856b88-c793-4769-a00b-f1847eebc676" providerId="ADAL" clId="{21AD6432-D65F-488F-84DF-E8C8864F6DA3}" dt="2024-09-27T06:41:24.457" v="1791" actId="478"/>
          <ac:picMkLst>
            <pc:docMk/>
            <pc:sldMk cId="245881457" sldId="2147375597"/>
            <ac:picMk id="6146" creationId="{8BE5BFDB-8341-53E3-2B4D-45B60AC6D35E}"/>
          </ac:picMkLst>
        </pc:picChg>
        <pc:picChg chg="add mod">
          <ac:chgData name="Jallipalli, Lakshmi Susmitha Jayasri SBOBNG-PTIY/AAF" userId="04856b88-c793-4769-a00b-f1847eebc676" providerId="ADAL" clId="{21AD6432-D65F-488F-84DF-E8C8864F6DA3}" dt="2024-09-27T06:42:26.446" v="1797" actId="14100"/>
          <ac:picMkLst>
            <pc:docMk/>
            <pc:sldMk cId="245881457" sldId="2147375597"/>
            <ac:picMk id="6147" creationId="{6A0EB1E3-613C-E338-3B95-197597E8DF48}"/>
          </ac:picMkLst>
        </pc:picChg>
      </pc:sldChg>
      <pc:sldChg chg="addSp delSp modSp mod">
        <pc:chgData name="Jallipalli, Lakshmi Susmitha Jayasri SBOBNG-PTIY/AAF" userId="04856b88-c793-4769-a00b-f1847eebc676" providerId="ADAL" clId="{21AD6432-D65F-488F-84DF-E8C8864F6DA3}" dt="2024-09-27T06:38:41.343" v="1762" actId="14100"/>
        <pc:sldMkLst>
          <pc:docMk/>
          <pc:sldMk cId="1181112711" sldId="2147375600"/>
        </pc:sldMkLst>
        <pc:spChg chg="mod">
          <ac:chgData name="Jallipalli, Lakshmi Susmitha Jayasri SBOBNG-PTIY/AAF" userId="04856b88-c793-4769-a00b-f1847eebc676" providerId="ADAL" clId="{21AD6432-D65F-488F-84DF-E8C8864F6DA3}" dt="2024-09-26T16:05:10.538" v="662" actId="20577"/>
          <ac:spMkLst>
            <pc:docMk/>
            <pc:sldMk cId="1181112711" sldId="2147375600"/>
            <ac:spMk id="3" creationId="{CEA128C4-A0BC-A895-713C-306E7FF62894}"/>
          </ac:spMkLst>
        </pc:spChg>
        <pc:spChg chg="mod">
          <ac:chgData name="Jallipalli, Lakshmi Susmitha Jayasri SBOBNG-PTIY/AAF" userId="04856b88-c793-4769-a00b-f1847eebc676" providerId="ADAL" clId="{21AD6432-D65F-488F-84DF-E8C8864F6DA3}" dt="2024-09-26T16:11:12.843" v="1050" actId="20577"/>
          <ac:spMkLst>
            <pc:docMk/>
            <pc:sldMk cId="1181112711" sldId="2147375600"/>
            <ac:spMk id="11" creationId="{DE9F1BE0-7910-FA1B-DCE8-56EFD1E4FC09}"/>
          </ac:spMkLst>
        </pc:spChg>
        <pc:picChg chg="del">
          <ac:chgData name="Jallipalli, Lakshmi Susmitha Jayasri SBOBNG-PTIY/AAF" userId="04856b88-c793-4769-a00b-f1847eebc676" providerId="ADAL" clId="{21AD6432-D65F-488F-84DF-E8C8864F6DA3}" dt="2024-09-26T16:04:17.234" v="595" actId="478"/>
          <ac:picMkLst>
            <pc:docMk/>
            <pc:sldMk cId="1181112711" sldId="2147375600"/>
            <ac:picMk id="2" creationId="{3DB9A40D-BD14-B623-FCA5-B8129B15B87B}"/>
          </ac:picMkLst>
        </pc:picChg>
        <pc:picChg chg="add mod">
          <ac:chgData name="Jallipalli, Lakshmi Susmitha Jayasri SBOBNG-PTIY/AAF" userId="04856b88-c793-4769-a00b-f1847eebc676" providerId="ADAL" clId="{21AD6432-D65F-488F-84DF-E8C8864F6DA3}" dt="2024-09-27T06:38:41.343" v="1762" actId="14100"/>
          <ac:picMkLst>
            <pc:docMk/>
            <pc:sldMk cId="1181112711" sldId="2147375600"/>
            <ac:picMk id="5122" creationId="{D4EEC21D-3F76-9809-81A4-979A35414485}"/>
          </ac:picMkLst>
        </pc:picChg>
      </pc:sldChg>
      <pc:sldChg chg="addSp delSp modSp mod ord">
        <pc:chgData name="Jallipalli, Lakshmi Susmitha Jayasri SBOBNG-PTIY/AAF" userId="04856b88-c793-4769-a00b-f1847eebc676" providerId="ADAL" clId="{21AD6432-D65F-488F-84DF-E8C8864F6DA3}" dt="2024-09-27T06:43:44.704" v="1812" actId="14100"/>
        <pc:sldMkLst>
          <pc:docMk/>
          <pc:sldMk cId="3233747587" sldId="2147375601"/>
        </pc:sldMkLst>
        <pc:spChg chg="add">
          <ac:chgData name="Jallipalli, Lakshmi Susmitha Jayasri SBOBNG-PTIY/AAF" userId="04856b88-c793-4769-a00b-f1847eebc676" providerId="ADAL" clId="{21AD6432-D65F-488F-84DF-E8C8864F6DA3}" dt="2024-09-26T15:49:13.953" v="83"/>
          <ac:spMkLst>
            <pc:docMk/>
            <pc:sldMk cId="3233747587" sldId="2147375601"/>
            <ac:spMk id="2" creationId="{10AD7028-EA91-AB2B-097B-9DF014FEBC59}"/>
          </ac:spMkLst>
        </pc:spChg>
        <pc:spChg chg="mod">
          <ac:chgData name="Jallipalli, Lakshmi Susmitha Jayasri SBOBNG-PTIY/AAF" userId="04856b88-c793-4769-a00b-f1847eebc676" providerId="ADAL" clId="{21AD6432-D65F-488F-84DF-E8C8864F6DA3}" dt="2024-09-26T15:52:58.017" v="109" actId="20577"/>
          <ac:spMkLst>
            <pc:docMk/>
            <pc:sldMk cId="3233747587" sldId="2147375601"/>
            <ac:spMk id="3" creationId="{CEA128C4-A0BC-A895-713C-306E7FF62894}"/>
          </ac:spMkLst>
        </pc:spChg>
        <pc:spChg chg="add">
          <ac:chgData name="Jallipalli, Lakshmi Susmitha Jayasri SBOBNG-PTIY/AAF" userId="04856b88-c793-4769-a00b-f1847eebc676" providerId="ADAL" clId="{21AD6432-D65F-488F-84DF-E8C8864F6DA3}" dt="2024-09-26T15:49:13.953" v="83"/>
          <ac:spMkLst>
            <pc:docMk/>
            <pc:sldMk cId="3233747587" sldId="2147375601"/>
            <ac:spMk id="6" creationId="{AF76DDFB-0227-5009-E31D-9C9CA6D8F194}"/>
          </ac:spMkLst>
        </pc:spChg>
        <pc:spChg chg="add">
          <ac:chgData name="Jallipalli, Lakshmi Susmitha Jayasri SBOBNG-PTIY/AAF" userId="04856b88-c793-4769-a00b-f1847eebc676" providerId="ADAL" clId="{21AD6432-D65F-488F-84DF-E8C8864F6DA3}" dt="2024-09-26T15:49:13.953" v="83"/>
          <ac:spMkLst>
            <pc:docMk/>
            <pc:sldMk cId="3233747587" sldId="2147375601"/>
            <ac:spMk id="8" creationId="{4A7C6C2F-9DA8-E72B-B7E1-2E30CB34E959}"/>
          </ac:spMkLst>
        </pc:spChg>
        <pc:spChg chg="mod">
          <ac:chgData name="Jallipalli, Lakshmi Susmitha Jayasri SBOBNG-PTIY/AAF" userId="04856b88-c793-4769-a00b-f1847eebc676" providerId="ADAL" clId="{21AD6432-D65F-488F-84DF-E8C8864F6DA3}" dt="2024-09-26T15:52:45.246" v="104" actId="20577"/>
          <ac:spMkLst>
            <pc:docMk/>
            <pc:sldMk cId="3233747587" sldId="2147375601"/>
            <ac:spMk id="11" creationId="{DE9F1BE0-7910-FA1B-DCE8-56EFD1E4FC09}"/>
          </ac:spMkLst>
        </pc:spChg>
        <pc:spChg chg="mod">
          <ac:chgData name="Jallipalli, Lakshmi Susmitha Jayasri SBOBNG-PTIY/AAF" userId="04856b88-c793-4769-a00b-f1847eebc676" providerId="ADAL" clId="{21AD6432-D65F-488F-84DF-E8C8864F6DA3}" dt="2024-09-27T06:41:10.491" v="1786" actId="1076"/>
          <ac:spMkLst>
            <pc:docMk/>
            <pc:sldMk cId="3233747587" sldId="2147375601"/>
            <ac:spMk id="12" creationId="{E53E5C3F-4D2B-B85F-E592-E58E032C664C}"/>
          </ac:spMkLst>
        </pc:spChg>
        <pc:spChg chg="add">
          <ac:chgData name="Jallipalli, Lakshmi Susmitha Jayasri SBOBNG-PTIY/AAF" userId="04856b88-c793-4769-a00b-f1847eebc676" providerId="ADAL" clId="{21AD6432-D65F-488F-84DF-E8C8864F6DA3}" dt="2024-09-26T15:49:13.953" v="83"/>
          <ac:spMkLst>
            <pc:docMk/>
            <pc:sldMk cId="3233747587" sldId="2147375601"/>
            <ac:spMk id="13" creationId="{EB071494-2DFB-C2A0-37A4-340D2F1CDBA1}"/>
          </ac:spMkLst>
        </pc:spChg>
        <pc:spChg chg="add">
          <ac:chgData name="Jallipalli, Lakshmi Susmitha Jayasri SBOBNG-PTIY/AAF" userId="04856b88-c793-4769-a00b-f1847eebc676" providerId="ADAL" clId="{21AD6432-D65F-488F-84DF-E8C8864F6DA3}" dt="2024-09-26T15:49:13.953" v="83"/>
          <ac:spMkLst>
            <pc:docMk/>
            <pc:sldMk cId="3233747587" sldId="2147375601"/>
            <ac:spMk id="14" creationId="{1F557F8B-6EAF-E4D0-689D-D6E0BDF02C9F}"/>
          </ac:spMkLst>
        </pc:spChg>
        <pc:spChg chg="add">
          <ac:chgData name="Jallipalli, Lakshmi Susmitha Jayasri SBOBNG-PTIY/AAF" userId="04856b88-c793-4769-a00b-f1847eebc676" providerId="ADAL" clId="{21AD6432-D65F-488F-84DF-E8C8864F6DA3}" dt="2024-09-26T15:49:13.953" v="83"/>
          <ac:spMkLst>
            <pc:docMk/>
            <pc:sldMk cId="3233747587" sldId="2147375601"/>
            <ac:spMk id="15" creationId="{A8F2B8C5-70CD-1355-BE81-60D11376EC63}"/>
          </ac:spMkLst>
        </pc:spChg>
        <pc:spChg chg="add">
          <ac:chgData name="Jallipalli, Lakshmi Susmitha Jayasri SBOBNG-PTIY/AAF" userId="04856b88-c793-4769-a00b-f1847eebc676" providerId="ADAL" clId="{21AD6432-D65F-488F-84DF-E8C8864F6DA3}" dt="2024-09-26T15:49:13.953" v="83"/>
          <ac:spMkLst>
            <pc:docMk/>
            <pc:sldMk cId="3233747587" sldId="2147375601"/>
            <ac:spMk id="16" creationId="{615A0A0D-0456-D788-D798-4BC15E687C6E}"/>
          </ac:spMkLst>
        </pc:spChg>
        <pc:spChg chg="add">
          <ac:chgData name="Jallipalli, Lakshmi Susmitha Jayasri SBOBNG-PTIY/AAF" userId="04856b88-c793-4769-a00b-f1847eebc676" providerId="ADAL" clId="{21AD6432-D65F-488F-84DF-E8C8864F6DA3}" dt="2024-09-26T15:49:13.953" v="83"/>
          <ac:spMkLst>
            <pc:docMk/>
            <pc:sldMk cId="3233747587" sldId="2147375601"/>
            <ac:spMk id="17" creationId="{D592BB63-973C-DDC2-4186-A68886164445}"/>
          </ac:spMkLst>
        </pc:spChg>
        <pc:spChg chg="add">
          <ac:chgData name="Jallipalli, Lakshmi Susmitha Jayasri SBOBNG-PTIY/AAF" userId="04856b88-c793-4769-a00b-f1847eebc676" providerId="ADAL" clId="{21AD6432-D65F-488F-84DF-E8C8864F6DA3}" dt="2024-09-26T15:49:13.953" v="83"/>
          <ac:spMkLst>
            <pc:docMk/>
            <pc:sldMk cId="3233747587" sldId="2147375601"/>
            <ac:spMk id="18" creationId="{0490DA58-5FAC-473D-CA8D-CBA1B051C873}"/>
          </ac:spMkLst>
        </pc:spChg>
        <pc:spChg chg="add">
          <ac:chgData name="Jallipalli, Lakshmi Susmitha Jayasri SBOBNG-PTIY/AAF" userId="04856b88-c793-4769-a00b-f1847eebc676" providerId="ADAL" clId="{21AD6432-D65F-488F-84DF-E8C8864F6DA3}" dt="2024-09-26T15:49:13.953" v="83"/>
          <ac:spMkLst>
            <pc:docMk/>
            <pc:sldMk cId="3233747587" sldId="2147375601"/>
            <ac:spMk id="19" creationId="{530F0C28-142D-8ADE-BBE5-AF98E50149FF}"/>
          </ac:spMkLst>
        </pc:spChg>
        <pc:spChg chg="add">
          <ac:chgData name="Jallipalli, Lakshmi Susmitha Jayasri SBOBNG-PTIY/AAF" userId="04856b88-c793-4769-a00b-f1847eebc676" providerId="ADAL" clId="{21AD6432-D65F-488F-84DF-E8C8864F6DA3}" dt="2024-09-26T15:49:13.953" v="83"/>
          <ac:spMkLst>
            <pc:docMk/>
            <pc:sldMk cId="3233747587" sldId="2147375601"/>
            <ac:spMk id="20" creationId="{8A78C01A-418F-2048-0FD4-3737B525649E}"/>
          </ac:spMkLst>
        </pc:spChg>
        <pc:spChg chg="add">
          <ac:chgData name="Jallipalli, Lakshmi Susmitha Jayasri SBOBNG-PTIY/AAF" userId="04856b88-c793-4769-a00b-f1847eebc676" providerId="ADAL" clId="{21AD6432-D65F-488F-84DF-E8C8864F6DA3}" dt="2024-09-26T15:49:13.953" v="83"/>
          <ac:spMkLst>
            <pc:docMk/>
            <pc:sldMk cId="3233747587" sldId="2147375601"/>
            <ac:spMk id="21" creationId="{AA7581F0-C07F-A80D-2A70-AC831119E222}"/>
          </ac:spMkLst>
        </pc:spChg>
        <pc:spChg chg="add">
          <ac:chgData name="Jallipalli, Lakshmi Susmitha Jayasri SBOBNG-PTIY/AAF" userId="04856b88-c793-4769-a00b-f1847eebc676" providerId="ADAL" clId="{21AD6432-D65F-488F-84DF-E8C8864F6DA3}" dt="2024-09-26T15:49:13.953" v="83"/>
          <ac:spMkLst>
            <pc:docMk/>
            <pc:sldMk cId="3233747587" sldId="2147375601"/>
            <ac:spMk id="22" creationId="{EA794ED1-9BB9-1440-C6FE-2A4C645DFCD1}"/>
          </ac:spMkLst>
        </pc:spChg>
        <pc:spChg chg="add">
          <ac:chgData name="Jallipalli, Lakshmi Susmitha Jayasri SBOBNG-PTIY/AAF" userId="04856b88-c793-4769-a00b-f1847eebc676" providerId="ADAL" clId="{21AD6432-D65F-488F-84DF-E8C8864F6DA3}" dt="2024-09-26T15:49:13.953" v="83"/>
          <ac:spMkLst>
            <pc:docMk/>
            <pc:sldMk cId="3233747587" sldId="2147375601"/>
            <ac:spMk id="23" creationId="{B2A76097-01EA-72B1-D01E-06E972166EF8}"/>
          </ac:spMkLst>
        </pc:spChg>
        <pc:spChg chg="add">
          <ac:chgData name="Jallipalli, Lakshmi Susmitha Jayasri SBOBNG-PTIY/AAF" userId="04856b88-c793-4769-a00b-f1847eebc676" providerId="ADAL" clId="{21AD6432-D65F-488F-84DF-E8C8864F6DA3}" dt="2024-09-26T15:49:13.953" v="83"/>
          <ac:spMkLst>
            <pc:docMk/>
            <pc:sldMk cId="3233747587" sldId="2147375601"/>
            <ac:spMk id="24" creationId="{8AB77E02-7EAC-368C-7434-D51D185A819C}"/>
          </ac:spMkLst>
        </pc:spChg>
        <pc:spChg chg="add">
          <ac:chgData name="Jallipalli, Lakshmi Susmitha Jayasri SBOBNG-PTIY/AAF" userId="04856b88-c793-4769-a00b-f1847eebc676" providerId="ADAL" clId="{21AD6432-D65F-488F-84DF-E8C8864F6DA3}" dt="2024-09-26T15:49:13.953" v="83"/>
          <ac:spMkLst>
            <pc:docMk/>
            <pc:sldMk cId="3233747587" sldId="2147375601"/>
            <ac:spMk id="25" creationId="{EE47C079-998B-0BA4-72C9-48733BD9D73C}"/>
          </ac:spMkLst>
        </pc:spChg>
        <pc:picChg chg="del">
          <ac:chgData name="Jallipalli, Lakshmi Susmitha Jayasri SBOBNG-PTIY/AAF" userId="04856b88-c793-4769-a00b-f1847eebc676" providerId="ADAL" clId="{21AD6432-D65F-488F-84DF-E8C8864F6DA3}" dt="2024-09-26T15:52:51.932" v="105" actId="478"/>
          <ac:picMkLst>
            <pc:docMk/>
            <pc:sldMk cId="3233747587" sldId="2147375601"/>
            <ac:picMk id="5" creationId="{5E1FA958-6FEA-6DAA-73FD-39D7BA741BCA}"/>
          </ac:picMkLst>
        </pc:picChg>
        <pc:picChg chg="add del mod">
          <ac:chgData name="Jallipalli, Lakshmi Susmitha Jayasri SBOBNG-PTIY/AAF" userId="04856b88-c793-4769-a00b-f1847eebc676" providerId="ADAL" clId="{21AD6432-D65F-488F-84DF-E8C8864F6DA3}" dt="2024-09-27T06:42:34.285" v="1798" actId="478"/>
          <ac:picMkLst>
            <pc:docMk/>
            <pc:sldMk cId="3233747587" sldId="2147375601"/>
            <ac:picMk id="7170" creationId="{1DE9CCE5-74E0-5FFC-3975-E35E4699B1E5}"/>
          </ac:picMkLst>
        </pc:picChg>
        <pc:picChg chg="add mod">
          <ac:chgData name="Jallipalli, Lakshmi Susmitha Jayasri SBOBNG-PTIY/AAF" userId="04856b88-c793-4769-a00b-f1847eebc676" providerId="ADAL" clId="{21AD6432-D65F-488F-84DF-E8C8864F6DA3}" dt="2024-09-27T06:41:10.491" v="1786" actId="1076"/>
          <ac:picMkLst>
            <pc:docMk/>
            <pc:sldMk cId="3233747587" sldId="2147375601"/>
            <ac:picMk id="7171" creationId="{EDA84127-DD15-0C41-A78D-8C8ACD9CACD0}"/>
          </ac:picMkLst>
        </pc:picChg>
        <pc:picChg chg="add">
          <ac:chgData name="Jallipalli, Lakshmi Susmitha Jayasri SBOBNG-PTIY/AAF" userId="04856b88-c793-4769-a00b-f1847eebc676" providerId="ADAL" clId="{21AD6432-D65F-488F-84DF-E8C8864F6DA3}" dt="2024-09-27T06:42:36.117" v="1799"/>
          <ac:picMkLst>
            <pc:docMk/>
            <pc:sldMk cId="3233747587" sldId="2147375601"/>
            <ac:picMk id="7172" creationId="{BAC4CA59-4683-3106-261B-F2469254393B}"/>
          </ac:picMkLst>
        </pc:picChg>
        <pc:picChg chg="add mod">
          <ac:chgData name="Jallipalli, Lakshmi Susmitha Jayasri SBOBNG-PTIY/AAF" userId="04856b88-c793-4769-a00b-f1847eebc676" providerId="ADAL" clId="{21AD6432-D65F-488F-84DF-E8C8864F6DA3}" dt="2024-09-27T06:43:44.704" v="1812" actId="14100"/>
          <ac:picMkLst>
            <pc:docMk/>
            <pc:sldMk cId="3233747587" sldId="2147375601"/>
            <ac:picMk id="7173" creationId="{B9EA4463-FB51-355E-9CF4-262A6D0B2444}"/>
          </ac:picMkLst>
        </pc:picChg>
      </pc:sldChg>
      <pc:sldChg chg="addSp delSp modSp mod">
        <pc:chgData name="Jallipalli, Lakshmi Susmitha Jayasri SBOBNG-PTIY/AAF" userId="04856b88-c793-4769-a00b-f1847eebc676" providerId="ADAL" clId="{21AD6432-D65F-488F-84DF-E8C8864F6DA3}" dt="2024-09-27T06:33:24.159" v="1747" actId="14100"/>
        <pc:sldMkLst>
          <pc:docMk/>
          <pc:sldMk cId="3971512377" sldId="2147375603"/>
        </pc:sldMkLst>
        <pc:spChg chg="mod">
          <ac:chgData name="Jallipalli, Lakshmi Susmitha Jayasri SBOBNG-PTIY/AAF" userId="04856b88-c793-4769-a00b-f1847eebc676" providerId="ADAL" clId="{21AD6432-D65F-488F-84DF-E8C8864F6DA3}" dt="2024-09-26T16:43:14.935" v="1250" actId="255"/>
          <ac:spMkLst>
            <pc:docMk/>
            <pc:sldMk cId="3971512377" sldId="2147375603"/>
            <ac:spMk id="11" creationId="{DE9F1BE0-7910-FA1B-DCE8-56EFD1E4FC09}"/>
          </ac:spMkLst>
        </pc:spChg>
        <pc:picChg chg="del">
          <ac:chgData name="Jallipalli, Lakshmi Susmitha Jayasri SBOBNG-PTIY/AAF" userId="04856b88-c793-4769-a00b-f1847eebc676" providerId="ADAL" clId="{21AD6432-D65F-488F-84DF-E8C8864F6DA3}" dt="2024-09-26T16:11:23.080" v="1051" actId="478"/>
          <ac:picMkLst>
            <pc:docMk/>
            <pc:sldMk cId="3971512377" sldId="2147375603"/>
            <ac:picMk id="3074" creationId="{579FB848-0128-C148-F6B3-7B86C0EA3538}"/>
          </ac:picMkLst>
        </pc:picChg>
        <pc:picChg chg="add del mod">
          <ac:chgData name="Jallipalli, Lakshmi Susmitha Jayasri SBOBNG-PTIY/AAF" userId="04856b88-c793-4769-a00b-f1847eebc676" providerId="ADAL" clId="{21AD6432-D65F-488F-84DF-E8C8864F6DA3}" dt="2024-09-27T06:32:17.690" v="1743" actId="478"/>
          <ac:picMkLst>
            <pc:docMk/>
            <pc:sldMk cId="3971512377" sldId="2147375603"/>
            <ac:picMk id="4098" creationId="{E7C6E7F7-9DEC-DF8B-8E31-641AF1E10AC5}"/>
          </ac:picMkLst>
        </pc:picChg>
        <pc:picChg chg="add mod">
          <ac:chgData name="Jallipalli, Lakshmi Susmitha Jayasri SBOBNG-PTIY/AAF" userId="04856b88-c793-4769-a00b-f1847eebc676" providerId="ADAL" clId="{21AD6432-D65F-488F-84DF-E8C8864F6DA3}" dt="2024-09-27T06:33:24.159" v="1747" actId="14100"/>
          <ac:picMkLst>
            <pc:docMk/>
            <pc:sldMk cId="3971512377" sldId="2147375603"/>
            <ac:picMk id="4100" creationId="{B8D76FDF-8B83-BD2B-2F06-DDF659C2C673}"/>
          </ac:picMkLst>
        </pc:picChg>
      </pc:sldChg>
      <pc:sldChg chg="addSp delSp modSp mod">
        <pc:chgData name="Jallipalli, Lakshmi Susmitha Jayasri SBOBNG-PTIY/AAF" userId="04856b88-c793-4769-a00b-f1847eebc676" providerId="ADAL" clId="{21AD6432-D65F-488F-84DF-E8C8864F6DA3}" dt="2024-09-27T06:31:37.871" v="1739" actId="14100"/>
        <pc:sldMkLst>
          <pc:docMk/>
          <pc:sldMk cId="3179805674" sldId="2147375604"/>
        </pc:sldMkLst>
        <pc:spChg chg="mod">
          <ac:chgData name="Jallipalli, Lakshmi Susmitha Jayasri SBOBNG-PTIY/AAF" userId="04856b88-c793-4769-a00b-f1847eebc676" providerId="ADAL" clId="{21AD6432-D65F-488F-84DF-E8C8864F6DA3}" dt="2024-09-26T16:44:26.237" v="1251" actId="255"/>
          <ac:spMkLst>
            <pc:docMk/>
            <pc:sldMk cId="3179805674" sldId="2147375604"/>
            <ac:spMk id="11" creationId="{DE9F1BE0-7910-FA1B-DCE8-56EFD1E4FC09}"/>
          </ac:spMkLst>
        </pc:spChg>
        <pc:spChg chg="mod">
          <ac:chgData name="Jallipalli, Lakshmi Susmitha Jayasri SBOBNG-PTIY/AAF" userId="04856b88-c793-4769-a00b-f1847eebc676" providerId="ADAL" clId="{21AD6432-D65F-488F-84DF-E8C8864F6DA3}" dt="2024-09-26T16:32:58.717" v="1094" actId="14100"/>
          <ac:spMkLst>
            <pc:docMk/>
            <pc:sldMk cId="3179805674" sldId="2147375604"/>
            <ac:spMk id="12" creationId="{E53E5C3F-4D2B-B85F-E592-E58E032C664C}"/>
          </ac:spMkLst>
        </pc:spChg>
        <pc:picChg chg="add mod">
          <ac:chgData name="Jallipalli, Lakshmi Susmitha Jayasri SBOBNG-PTIY/AAF" userId="04856b88-c793-4769-a00b-f1847eebc676" providerId="ADAL" clId="{21AD6432-D65F-488F-84DF-E8C8864F6DA3}" dt="2024-09-27T06:31:37.871" v="1739" actId="14100"/>
          <ac:picMkLst>
            <pc:docMk/>
            <pc:sldMk cId="3179805674" sldId="2147375604"/>
            <ac:picMk id="3074" creationId="{037FB963-6BBA-3674-12B0-63B286E094B0}"/>
          </ac:picMkLst>
        </pc:picChg>
        <pc:picChg chg="del">
          <ac:chgData name="Jallipalli, Lakshmi Susmitha Jayasri SBOBNG-PTIY/AAF" userId="04856b88-c793-4769-a00b-f1847eebc676" providerId="ADAL" clId="{21AD6432-D65F-488F-84DF-E8C8864F6DA3}" dt="2024-09-26T16:22:15.469" v="1081" actId="478"/>
          <ac:picMkLst>
            <pc:docMk/>
            <pc:sldMk cId="3179805674" sldId="2147375604"/>
            <ac:picMk id="4098" creationId="{5F58A11F-CB68-99D8-8485-CE50C0DCAEFF}"/>
          </ac:picMkLst>
        </pc:picChg>
      </pc:sldChg>
      <pc:sldChg chg="addSp delSp modSp mod">
        <pc:chgData name="Jallipalli, Lakshmi Susmitha Jayasri SBOBNG-PTIY/AAF" userId="04856b88-c793-4769-a00b-f1847eebc676" providerId="ADAL" clId="{21AD6432-D65F-488F-84DF-E8C8864F6DA3}" dt="2024-09-27T06:30:38.655" v="1735" actId="14100"/>
        <pc:sldMkLst>
          <pc:docMk/>
          <pc:sldMk cId="86366928" sldId="2147375605"/>
        </pc:sldMkLst>
        <pc:spChg chg="mod">
          <ac:chgData name="Jallipalli, Lakshmi Susmitha Jayasri SBOBNG-PTIY/AAF" userId="04856b88-c793-4769-a00b-f1847eebc676" providerId="ADAL" clId="{21AD6432-D65F-488F-84DF-E8C8864F6DA3}" dt="2024-09-26T16:44:33.454" v="1252" actId="255"/>
          <ac:spMkLst>
            <pc:docMk/>
            <pc:sldMk cId="86366928" sldId="2147375605"/>
            <ac:spMk id="11" creationId="{DE9F1BE0-7910-FA1B-DCE8-56EFD1E4FC09}"/>
          </ac:spMkLst>
        </pc:spChg>
        <pc:picChg chg="del">
          <ac:chgData name="Jallipalli, Lakshmi Susmitha Jayasri SBOBNG-PTIY/AAF" userId="04856b88-c793-4769-a00b-f1847eebc676" providerId="ADAL" clId="{21AD6432-D65F-488F-84DF-E8C8864F6DA3}" dt="2024-09-26T16:25:49.084" v="1089" actId="478"/>
          <ac:picMkLst>
            <pc:docMk/>
            <pc:sldMk cId="86366928" sldId="2147375605"/>
            <ac:picMk id="6" creationId="{519D331A-1E37-B5D9-92F1-060DEACE5B47}"/>
          </ac:picMkLst>
        </pc:picChg>
        <pc:picChg chg="add del mod">
          <ac:chgData name="Jallipalli, Lakshmi Susmitha Jayasri SBOBNG-PTIY/AAF" userId="04856b88-c793-4769-a00b-f1847eebc676" providerId="ADAL" clId="{21AD6432-D65F-488F-84DF-E8C8864F6DA3}" dt="2024-09-27T06:29:50.096" v="1730" actId="478"/>
          <ac:picMkLst>
            <pc:docMk/>
            <pc:sldMk cId="86366928" sldId="2147375605"/>
            <ac:picMk id="2050" creationId="{0344C44C-2A8C-17F3-8CEF-945FF3B9269D}"/>
          </ac:picMkLst>
        </pc:picChg>
        <pc:picChg chg="add mod">
          <ac:chgData name="Jallipalli, Lakshmi Susmitha Jayasri SBOBNG-PTIY/AAF" userId="04856b88-c793-4769-a00b-f1847eebc676" providerId="ADAL" clId="{21AD6432-D65F-488F-84DF-E8C8864F6DA3}" dt="2024-09-27T06:30:38.655" v="1735" actId="14100"/>
          <ac:picMkLst>
            <pc:docMk/>
            <pc:sldMk cId="86366928" sldId="2147375605"/>
            <ac:picMk id="2052" creationId="{5739E10D-E4FC-CD29-B558-0A56976ED670}"/>
          </ac:picMkLst>
        </pc:picChg>
      </pc:sldChg>
      <pc:sldChg chg="addSp delSp modSp mod">
        <pc:chgData name="Jallipalli, Lakshmi Susmitha Jayasri SBOBNG-PTIY/AAF" userId="04856b88-c793-4769-a00b-f1847eebc676" providerId="ADAL" clId="{21AD6432-D65F-488F-84DF-E8C8864F6DA3}" dt="2024-09-27T06:27:06.892" v="1719" actId="14100"/>
        <pc:sldMkLst>
          <pc:docMk/>
          <pc:sldMk cId="2340944189" sldId="2147375607"/>
        </pc:sldMkLst>
        <pc:spChg chg="mod">
          <ac:chgData name="Jallipalli, Lakshmi Susmitha Jayasri SBOBNG-PTIY/AAF" userId="04856b88-c793-4769-a00b-f1847eebc676" providerId="ADAL" clId="{21AD6432-D65F-488F-84DF-E8C8864F6DA3}" dt="2024-09-26T16:38:16.388" v="1112" actId="20577"/>
          <ac:spMkLst>
            <pc:docMk/>
            <pc:sldMk cId="2340944189" sldId="2147375607"/>
            <ac:spMk id="3" creationId="{CEA128C4-A0BC-A895-713C-306E7FF62894}"/>
          </ac:spMkLst>
        </pc:spChg>
        <pc:spChg chg="mod">
          <ac:chgData name="Jallipalli, Lakshmi Susmitha Jayasri SBOBNG-PTIY/AAF" userId="04856b88-c793-4769-a00b-f1847eebc676" providerId="ADAL" clId="{21AD6432-D65F-488F-84DF-E8C8864F6DA3}" dt="2024-09-26T16:45:58.539" v="1384" actId="20577"/>
          <ac:spMkLst>
            <pc:docMk/>
            <pc:sldMk cId="2340944189" sldId="2147375607"/>
            <ac:spMk id="11" creationId="{DE9F1BE0-7910-FA1B-DCE8-56EFD1E4FC09}"/>
          </ac:spMkLst>
        </pc:spChg>
        <pc:picChg chg="add mod modCrop">
          <ac:chgData name="Jallipalli, Lakshmi Susmitha Jayasri SBOBNG-PTIY/AAF" userId="04856b88-c793-4769-a00b-f1847eebc676" providerId="ADAL" clId="{21AD6432-D65F-488F-84DF-E8C8864F6DA3}" dt="2024-09-27T06:27:06.892" v="1719" actId="14100"/>
          <ac:picMkLst>
            <pc:docMk/>
            <pc:sldMk cId="2340944189" sldId="2147375607"/>
            <ac:picMk id="6" creationId="{9F3C8E84-8B73-3233-A22D-EABB650620D8}"/>
          </ac:picMkLst>
        </pc:picChg>
        <pc:picChg chg="del">
          <ac:chgData name="Jallipalli, Lakshmi Susmitha Jayasri SBOBNG-PTIY/AAF" userId="04856b88-c793-4769-a00b-f1847eebc676" providerId="ADAL" clId="{21AD6432-D65F-488F-84DF-E8C8864F6DA3}" dt="2024-09-26T16:33:44.071" v="1106" actId="478"/>
          <ac:picMkLst>
            <pc:docMk/>
            <pc:sldMk cId="2340944189" sldId="2147375607"/>
            <ac:picMk id="6" creationId="{C9654071-0EC0-3816-0B54-B384555C8C37}"/>
          </ac:picMkLst>
        </pc:picChg>
      </pc:sldChg>
      <pc:sldChg chg="modSp mod ord">
        <pc:chgData name="Jallipalli, Lakshmi Susmitha Jayasri SBOBNG-PTIY/AAF" userId="04856b88-c793-4769-a00b-f1847eebc676" providerId="ADAL" clId="{21AD6432-D65F-488F-84DF-E8C8864F6DA3}" dt="2024-09-26T16:38:05.852" v="1110"/>
        <pc:sldMkLst>
          <pc:docMk/>
          <pc:sldMk cId="3159148252" sldId="2147375608"/>
        </pc:sldMkLst>
        <pc:spChg chg="mod">
          <ac:chgData name="Jallipalli, Lakshmi Susmitha Jayasri SBOBNG-PTIY/AAF" userId="04856b88-c793-4769-a00b-f1847eebc676" providerId="ADAL" clId="{21AD6432-D65F-488F-84DF-E8C8864F6DA3}" dt="2024-09-26T16:38:03.524" v="1108" actId="20577"/>
          <ac:spMkLst>
            <pc:docMk/>
            <pc:sldMk cId="3159148252" sldId="2147375608"/>
            <ac:spMk id="3" creationId="{CEA128C4-A0BC-A895-713C-306E7FF62894}"/>
          </ac:spMkLst>
        </pc:spChg>
      </pc:sldChg>
      <pc:sldChg chg="addSp delSp modSp mod">
        <pc:chgData name="Jallipalli, Lakshmi Susmitha Jayasri SBOBNG-PTIY/AAF" userId="04856b88-c793-4769-a00b-f1847eebc676" providerId="ADAL" clId="{21AD6432-D65F-488F-84DF-E8C8864F6DA3}" dt="2024-09-27T06:28:21.611" v="1726" actId="14100"/>
        <pc:sldMkLst>
          <pc:docMk/>
          <pc:sldMk cId="3070204084" sldId="2147375609"/>
        </pc:sldMkLst>
        <pc:spChg chg="mod">
          <ac:chgData name="Jallipalli, Lakshmi Susmitha Jayasri SBOBNG-PTIY/AAF" userId="04856b88-c793-4769-a00b-f1847eebc676" providerId="ADAL" clId="{21AD6432-D65F-488F-84DF-E8C8864F6DA3}" dt="2024-09-26T16:48:18.590" v="1528" actId="20577"/>
          <ac:spMkLst>
            <pc:docMk/>
            <pc:sldMk cId="3070204084" sldId="2147375609"/>
            <ac:spMk id="11" creationId="{DE9F1BE0-7910-FA1B-DCE8-56EFD1E4FC09}"/>
          </ac:spMkLst>
        </pc:spChg>
        <pc:picChg chg="del">
          <ac:chgData name="Jallipalli, Lakshmi Susmitha Jayasri SBOBNG-PTIY/AAF" userId="04856b88-c793-4769-a00b-f1847eebc676" providerId="ADAL" clId="{21AD6432-D65F-488F-84DF-E8C8864F6DA3}" dt="2024-09-26T16:47:58.474" v="1491" actId="478"/>
          <ac:picMkLst>
            <pc:docMk/>
            <pc:sldMk cId="3070204084" sldId="2147375609"/>
            <ac:picMk id="6" creationId="{D508747D-9A8D-8FCC-1FE4-D30E0A29B8EC}"/>
          </ac:picMkLst>
        </pc:picChg>
        <pc:picChg chg="add mod">
          <ac:chgData name="Jallipalli, Lakshmi Susmitha Jayasri SBOBNG-PTIY/AAF" userId="04856b88-c793-4769-a00b-f1847eebc676" providerId="ADAL" clId="{21AD6432-D65F-488F-84DF-E8C8864F6DA3}" dt="2024-09-27T06:28:21.611" v="1726" actId="14100"/>
          <ac:picMkLst>
            <pc:docMk/>
            <pc:sldMk cId="3070204084" sldId="2147375609"/>
            <ac:picMk id="1026" creationId="{14015420-A786-0230-0B30-9FC518AA8255}"/>
          </ac:picMkLst>
        </pc:picChg>
      </pc:sldChg>
      <pc:sldChg chg="modSp mod">
        <pc:chgData name="Jallipalli, Lakshmi Susmitha Jayasri SBOBNG-PTIY/AAF" userId="04856b88-c793-4769-a00b-f1847eebc676" providerId="ADAL" clId="{21AD6432-D65F-488F-84DF-E8C8864F6DA3}" dt="2024-09-26T16:50:14.857" v="1664" actId="20577"/>
        <pc:sldMkLst>
          <pc:docMk/>
          <pc:sldMk cId="3754613224" sldId="2147375611"/>
        </pc:sldMkLst>
        <pc:spChg chg="mod">
          <ac:chgData name="Jallipalli, Lakshmi Susmitha Jayasri SBOBNG-PTIY/AAF" userId="04856b88-c793-4769-a00b-f1847eebc676" providerId="ADAL" clId="{21AD6432-D65F-488F-84DF-E8C8864F6DA3}" dt="2024-09-26T16:50:04.252" v="1644" actId="20577"/>
          <ac:spMkLst>
            <pc:docMk/>
            <pc:sldMk cId="3754613224" sldId="2147375611"/>
            <ac:spMk id="18" creationId="{6C73795A-BE20-7075-E9C6-6F145CE60794}"/>
          </ac:spMkLst>
        </pc:spChg>
        <pc:spChg chg="mod">
          <ac:chgData name="Jallipalli, Lakshmi Susmitha Jayasri SBOBNG-PTIY/AAF" userId="04856b88-c793-4769-a00b-f1847eebc676" providerId="ADAL" clId="{21AD6432-D65F-488F-84DF-E8C8864F6DA3}" dt="2024-09-26T16:50:14.857" v="1664" actId="20577"/>
          <ac:spMkLst>
            <pc:docMk/>
            <pc:sldMk cId="3754613224" sldId="2147375611"/>
            <ac:spMk id="19" creationId="{A3E2F4D1-4417-E244-3DB9-A6FF5866A342}"/>
          </ac:spMkLst>
        </pc:spChg>
      </pc:sldChg>
      <pc:sldChg chg="modSp mod">
        <pc:chgData name="Jallipalli, Lakshmi Susmitha Jayasri SBOBNG-PTIY/AAF" userId="04856b88-c793-4769-a00b-f1847eebc676" providerId="ADAL" clId="{21AD6432-D65F-488F-84DF-E8C8864F6DA3}" dt="2024-09-26T16:50:37.517" v="1686" actId="20577"/>
        <pc:sldMkLst>
          <pc:docMk/>
          <pc:sldMk cId="1148838763" sldId="2147375613"/>
        </pc:sldMkLst>
        <pc:spChg chg="mod">
          <ac:chgData name="Jallipalli, Lakshmi Susmitha Jayasri SBOBNG-PTIY/AAF" userId="04856b88-c793-4769-a00b-f1847eebc676" providerId="ADAL" clId="{21AD6432-D65F-488F-84DF-E8C8864F6DA3}" dt="2024-09-26T16:50:37.517" v="1686" actId="20577"/>
          <ac:spMkLst>
            <pc:docMk/>
            <pc:sldMk cId="1148838763" sldId="2147375613"/>
            <ac:spMk id="11" creationId="{8CC1343B-2E39-FEFF-8FF6-46822F18B432}"/>
          </ac:spMkLst>
        </pc:spChg>
      </pc:sldChg>
      <pc:sldChg chg="modSp mod">
        <pc:chgData name="Jallipalli, Lakshmi Susmitha Jayasri SBOBNG-PTIY/AAF" userId="04856b88-c793-4769-a00b-f1847eebc676" providerId="ADAL" clId="{21AD6432-D65F-488F-84DF-E8C8864F6DA3}" dt="2024-09-26T16:55:34.811" v="1711"/>
        <pc:sldMkLst>
          <pc:docMk/>
          <pc:sldMk cId="3865850111" sldId="2147375614"/>
        </pc:sldMkLst>
        <pc:spChg chg="mod">
          <ac:chgData name="Jallipalli, Lakshmi Susmitha Jayasri SBOBNG-PTIY/AAF" userId="04856b88-c793-4769-a00b-f1847eebc676" providerId="ADAL" clId="{21AD6432-D65F-488F-84DF-E8C8864F6DA3}" dt="2024-09-26T16:55:34.811" v="1711"/>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27/2024</a:t>
            </a:fld>
            <a:endParaRPr lang="en-US" dirty="0"/>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dirty="0"/>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27/09/2024</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dirty="0"/>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dirty="0"/>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dirty="0"/>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dirty="0"/>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dirty="0"/>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Jallipalli Lakshmi Susmitha Jayasr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84269" y="5501011"/>
            <a:ext cx="7469623" cy="523220"/>
          </a:xfrm>
          <a:prstGeom prst="rect">
            <a:avLst/>
          </a:prstGeom>
          <a:noFill/>
        </p:spPr>
        <p:txBody>
          <a:bodyPr wrap="square" rtlCol="0">
            <a:spAutoFit/>
          </a:bodyPr>
          <a:lstStyle/>
          <a:p>
            <a:r>
              <a:rPr lang="en-IN" sz="2800" b="1" dirty="0">
                <a:solidFill>
                  <a:schemeClr val="bg1"/>
                </a:solidFill>
              </a:rPr>
              <a:t>Date : 27-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t>OTC is a critical process that involves managing customer orders and the cash inflow from those orders. For Shell, this process ensures that customer orders are efficiently processed, fulfilled, and payments are collected promptly. </a:t>
            </a:r>
          </a:p>
          <a:p>
            <a:pPr marL="0" indent="0" algn="just">
              <a:buNone/>
            </a:pPr>
            <a:endParaRPr lang="en-US" sz="1800" dirty="0"/>
          </a:p>
          <a:p>
            <a:pPr marL="0" indent="0" algn="just">
              <a:buNone/>
            </a:pPr>
            <a:r>
              <a:rPr lang="en-US" sz="1800" dirty="0"/>
              <a:t>P2P involves the entire procurement process from sourcing and purchasing to payment for goods and services. For Shell, this process is crucial for managing supplier relationships and ensuring timely procurement of necessary resourc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2" name="Picture 4" descr="Image result for SAP OTC Logo">
            <a:extLst>
              <a:ext uri="{FF2B5EF4-FFF2-40B4-BE49-F238E27FC236}">
                <a16:creationId xmlns:a16="http://schemas.microsoft.com/office/drawing/2014/main" id="{5739E10D-E4FC-CD29-B558-0A56976ED67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8" y="1860992"/>
            <a:ext cx="5323030"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b="1" dirty="0"/>
              <a:t>Challenge: </a:t>
            </a:r>
            <a:r>
              <a:rPr lang="en-US" sz="1800" dirty="0"/>
              <a:t>SAP HANA involves a lot of technical jargon and concepts that can be overwhelming at first.</a:t>
            </a:r>
          </a:p>
          <a:p>
            <a:pPr marL="0" indent="0" algn="just">
              <a:buNone/>
            </a:pPr>
            <a:r>
              <a:rPr lang="en-US" sz="1800" b="1" dirty="0"/>
              <a:t>Plan: </a:t>
            </a:r>
            <a:r>
              <a:rPr lang="en-US" sz="1800" dirty="0"/>
              <a:t>I started reading documentation of SAP HANA to be more familiar and clear with the concep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D222EF29-AE00-50C4-BA44-53B48DF4BA0E}"/>
              </a:ext>
            </a:extLst>
          </p:cNvPr>
          <p:cNvPicPr>
            <a:picLocks noChangeAspect="1"/>
          </p:cNvPicPr>
          <p:nvPr/>
        </p:nvPicPr>
        <p:blipFill>
          <a:blip r:embed="rId7"/>
          <a:stretch>
            <a:fillRect/>
          </a:stretch>
        </p:blipFill>
        <p:spPr>
          <a:xfrm>
            <a:off x="6400799" y="1860992"/>
            <a:ext cx="5323029" cy="398100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6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b="1" dirty="0"/>
          </a:p>
          <a:p>
            <a:pPr marL="0" indent="0" algn="just">
              <a:buNone/>
            </a:pPr>
            <a:r>
              <a:rPr lang="en-US" sz="1800" b="1" dirty="0"/>
              <a:t>Challenge:</a:t>
            </a:r>
            <a:r>
              <a:rPr lang="en-US" sz="1800" dirty="0"/>
              <a:t> Assigning roles to business partner has been bit confusing because there are many roles that can be assigned to it like accounting , FI and </a:t>
            </a:r>
            <a:r>
              <a:rPr lang="en-US" sz="1800" dirty="0" err="1"/>
              <a:t>so..on</a:t>
            </a:r>
            <a:endParaRPr lang="en-US" sz="1800" dirty="0"/>
          </a:p>
          <a:p>
            <a:pPr marL="0" indent="0" algn="just">
              <a:buNone/>
            </a:pPr>
            <a:r>
              <a:rPr lang="en-US" sz="1800" b="1" dirty="0"/>
              <a:t>Plan: </a:t>
            </a:r>
            <a:r>
              <a:rPr lang="en-US" sz="1800" dirty="0"/>
              <a:t>Created few business partner master data to be more familiar and be clear with assigning the rol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9F3C8E84-8B73-3233-A22D-EABB650620D8}"/>
              </a:ext>
            </a:extLst>
          </p:cNvPr>
          <p:cNvPicPr>
            <a:picLocks noChangeAspect="1"/>
          </p:cNvPicPr>
          <p:nvPr/>
        </p:nvPicPr>
        <p:blipFill rotWithShape="1">
          <a:blip r:embed="rId7"/>
          <a:srcRect b="6980"/>
          <a:stretch/>
        </p:blipFill>
        <p:spPr>
          <a:xfrm>
            <a:off x="6400799" y="1857736"/>
            <a:ext cx="5349007" cy="4076241"/>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b="1" dirty="0"/>
              <a:t>Challenge: </a:t>
            </a:r>
            <a:r>
              <a:rPr lang="en-US" sz="1800" dirty="0"/>
              <a:t>OTC and P2P involved lot of T-codes which was bit difficult to remember.</a:t>
            </a:r>
          </a:p>
          <a:p>
            <a:pPr marL="0" indent="0" algn="just">
              <a:buNone/>
            </a:pPr>
            <a:r>
              <a:rPr lang="en-US" sz="1800" b="1" dirty="0"/>
              <a:t>Plan: </a:t>
            </a:r>
            <a:r>
              <a:rPr lang="en-US" sz="1800" dirty="0"/>
              <a:t>Read T-codes more frequently.</a:t>
            </a:r>
            <a:endParaRPr lang="en-US" sz="1800"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6" name="Picture 2" descr="SAP Procure to Pay Cycle : Process Flow">
            <a:extLst>
              <a:ext uri="{FF2B5EF4-FFF2-40B4-BE49-F238E27FC236}">
                <a16:creationId xmlns:a16="http://schemas.microsoft.com/office/drawing/2014/main" id="{14015420-A786-0230-0B30-9FC518AA82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9" y="1860993"/>
            <a:ext cx="5466081"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dirty="0">
                <a:effectLst>
                  <a:outerShdw blurRad="38100" dist="38100" dir="2700000" algn="tl">
                    <a:srgbClr val="000000">
                      <a:alpha val="43137"/>
                    </a:srgbClr>
                  </a:outerShdw>
                </a:effectLst>
              </a:rPr>
              <a:t>Master the concepts of SAP and S4 HANA and BTP and functional modules of SAP</a:t>
            </a:r>
          </a:p>
          <a:p>
            <a:pPr marL="0" indent="0" algn="ctr">
              <a:buFont typeface="Arial" panose="020B0604020202020204" pitchFamily="34" charset="0"/>
              <a:buNone/>
            </a:pPr>
            <a:endParaRPr lang="en-US" sz="1800" dirty="0">
              <a:effectLst>
                <a:outerShdw blurRad="38100" dist="38100" dir="2700000" algn="tl">
                  <a:srgbClr val="000000">
                    <a:alpha val="43137"/>
                  </a:srgbClr>
                </a:outerShdw>
              </a:effectLst>
            </a:endParaRPr>
          </a:p>
          <a:p>
            <a:pPr marL="0" indent="0" algn="ctr">
              <a:buNone/>
            </a:pPr>
            <a:r>
              <a:rPr lang="en-US" sz="1800" dirty="0">
                <a:effectLst>
                  <a:outerShdw blurRad="38100" dist="38100" dir="2700000" algn="tl">
                    <a:srgbClr val="000000">
                      <a:alpha val="43137"/>
                    </a:srgbClr>
                  </a:outerShdw>
                </a:effectLst>
              </a:rPr>
              <a:t>Be familiar with the roles in Business partner</a:t>
            </a:r>
          </a:p>
          <a:p>
            <a:pPr marL="0" indent="0" algn="ctr">
              <a:buFont typeface="Arial" panose="020B0604020202020204" pitchFamily="34" charset="0"/>
              <a:buNone/>
            </a:pPr>
            <a:endParaRPr lang="en-US" sz="18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1800" dirty="0">
                <a:effectLst>
                  <a:outerShdw blurRad="38100" dist="38100" dir="2700000" algn="tl">
                    <a:srgbClr val="000000">
                      <a:alpha val="43137"/>
                    </a:srgbClr>
                  </a:outerShdw>
                </a:effectLst>
              </a:rPr>
              <a:t>Be thorough with the T-codes</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dirty="0">
                <a:effectLst>
                  <a:outerShdw blurRad="38100" dist="38100" dir="2700000" algn="tl">
                    <a:srgbClr val="000000">
                      <a:alpha val="43137"/>
                    </a:srgbClr>
                  </a:outerShdw>
                </a:effectLst>
              </a:rPr>
              <a:t>By end of the week</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1800" dirty="0">
                <a:effectLst>
                  <a:outerShdw blurRad="38100" dist="38100" dir="2700000" algn="tl">
                    <a:srgbClr val="000000">
                      <a:alpha val="43137"/>
                    </a:srgbClr>
                  </a:outerShdw>
                </a:effectLst>
              </a:rPr>
              <a:t>Completed</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92758" y="1963817"/>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1800" dirty="0"/>
              <a:t>My facilitator for ERP Function </a:t>
            </a:r>
            <a:r>
              <a:rPr lang="en-US" sz="1800" dirty="0" err="1"/>
              <a:t>Mr</a:t>
            </a:r>
            <a:r>
              <a:rPr lang="en-US" sz="1800" dirty="0"/>
              <a:t> Vignesh has been very great teacher and made sessions very interactive and fun. He made all the sessions hands on.</a:t>
            </a:r>
          </a:p>
          <a:p>
            <a:pPr marL="0" indent="0">
              <a:buFont typeface="Arial" panose="020B0604020202020204" pitchFamily="34" charset="0"/>
              <a:buNone/>
            </a:pPr>
            <a:r>
              <a:rPr lang="en-US" sz="1800" dirty="0"/>
              <a:t>	So it has been very easy to understand since everything was practical.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7170" name="Picture 2">
            <a:extLst>
              <a:ext uri="{FF2B5EF4-FFF2-40B4-BE49-F238E27FC236}">
                <a16:creationId xmlns:a16="http://schemas.microsoft.com/office/drawing/2014/main" id="{2E0798B1-2D68-E153-ABC1-3F6A5CE1D8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30793" y="1963817"/>
            <a:ext cx="5520713" cy="407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191918"/>
            <a:ext cx="9804401" cy="4442421"/>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800" b="1" dirty="0"/>
              <a:t>Quick Summary:</a:t>
            </a:r>
          </a:p>
          <a:p>
            <a:pPr>
              <a:lnSpc>
                <a:spcPct val="100000"/>
              </a:lnSpc>
            </a:pPr>
            <a:r>
              <a:rPr lang="en-US" sz="1800" dirty="0"/>
              <a:t>SAP HANA is a combination of HANA database and data modelling and HANA administration and data provisioning in a single use.</a:t>
            </a:r>
          </a:p>
          <a:p>
            <a:pPr marL="0" indent="0">
              <a:lnSpc>
                <a:spcPct val="100000"/>
              </a:lnSpc>
              <a:buNone/>
            </a:pPr>
            <a:endParaRPr lang="en-US" sz="1800" dirty="0"/>
          </a:p>
          <a:p>
            <a:pPr>
              <a:lnSpc>
                <a:spcPct val="100000"/>
              </a:lnSpc>
            </a:pPr>
            <a:r>
              <a:rPr lang="en-US" sz="1800" dirty="0"/>
              <a:t>Order-to-Cash (OTC) focuses on managing customer orders and cash inflow, while Procure-to-Pay (P2P) deals with sourcing, purchasing, and payment for goods and services.</a:t>
            </a:r>
          </a:p>
          <a:p>
            <a:pPr>
              <a:lnSpc>
                <a:spcPct val="100000"/>
              </a:lnSpc>
            </a:pPr>
            <a:endParaRPr lang="en-US" sz="1800" dirty="0"/>
          </a:p>
          <a:p>
            <a:pPr>
              <a:lnSpc>
                <a:spcPct val="100000"/>
              </a:lnSpc>
            </a:pPr>
            <a:r>
              <a:rPr lang="en-US" sz="1800" dirty="0"/>
              <a:t>In SAP, Business Partner master data includes information about entities like customers, vendors, or employees, while Material master data contains details about products or services used in various business processes12.</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dirty="0"/>
              <a:t>“I am not a person who just completes the task, I enjoy the process and grow through it”</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6" name="Picture 5" descr="A person with a bun in her hair">
            <a:extLst>
              <a:ext uri="{FF2B5EF4-FFF2-40B4-BE49-F238E27FC236}">
                <a16:creationId xmlns:a16="http://schemas.microsoft.com/office/drawing/2014/main" id="{53AD419E-EB29-D460-6701-7886F9334231}"/>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399098" y="1831738"/>
            <a:ext cx="5467781" cy="4118372"/>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2"/>
            <a:ext cx="5653806" cy="4518306"/>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1800" b="1" dirty="0"/>
              <a:t>Key learnings: </a:t>
            </a:r>
            <a:r>
              <a:rPr lang="en-US" sz="1800" dirty="0"/>
              <a:t>I have learned introduction of sap HANA (High Performance Analytic Appliance) and overview of changes that are made from </a:t>
            </a:r>
            <a:r>
              <a:rPr lang="en-US" sz="1800" dirty="0" err="1"/>
              <a:t>ecc</a:t>
            </a:r>
            <a:r>
              <a:rPr lang="en-US" sz="1800" dirty="0"/>
              <a:t> to HANA.</a:t>
            </a:r>
          </a:p>
          <a:p>
            <a:pPr marL="0" indent="0" algn="just">
              <a:buFont typeface="Arial" panose="020B0604020202020204" pitchFamily="34" charset="0"/>
              <a:buNone/>
            </a:pPr>
            <a:r>
              <a:rPr lang="en-US" sz="1800" b="1" dirty="0"/>
              <a:t>Key Takeaways: </a:t>
            </a:r>
            <a:r>
              <a:rPr lang="en-US" sz="1800" dirty="0"/>
              <a:t>SAP HANA offers in-memory computing, real-time analytics, and integration with AI and IoT technologies, significantly speeding up data processing and report generation. Overview of Changes: Recent updates include the introduction of SAP HANA Cloud’s Vector Engine, and improved data management and analytics capabilities.</a:t>
            </a:r>
          </a:p>
          <a:p>
            <a:pPr marL="0" indent="0" algn="just">
              <a:buFont typeface="Arial" panose="020B0604020202020204" pitchFamily="34" charset="0"/>
              <a:buNone/>
            </a:pPr>
            <a:endParaRPr lang="en-US" sz="1800" dirty="0"/>
          </a:p>
          <a:p>
            <a:pPr marL="0" indent="0" algn="just">
              <a:buFont typeface="Arial" panose="020B0604020202020204" pitchFamily="34" charset="0"/>
              <a:buNone/>
            </a:pPr>
            <a:r>
              <a:rPr lang="en-US" sz="1800" dirty="0"/>
              <a:t>Shell uses SAP HANA to enhance its Wells &amp; Reservoir Facility Management (WRFM) system by integrating data from over 20 sources for real-time analytics and performance improvemen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2"/>
            <a:ext cx="5350706" cy="4518306"/>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7173" name="Picture 5">
            <a:extLst>
              <a:ext uri="{FF2B5EF4-FFF2-40B4-BE49-F238E27FC236}">
                <a16:creationId xmlns:a16="http://schemas.microsoft.com/office/drawing/2014/main" id="{B9EA4463-FB51-355E-9CF4-262A6D0B244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800" y="1860992"/>
            <a:ext cx="5323028" cy="449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37475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15372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b="1" dirty="0"/>
              <a:t>Key Learnings:</a:t>
            </a:r>
            <a:r>
              <a:rPr lang="en-US" sz="1800" dirty="0"/>
              <a:t> I have learned how to create business partner and how to assign roles to it and also learned about material master data and material valuation.</a:t>
            </a:r>
          </a:p>
          <a:p>
            <a:pPr marL="0" indent="0" algn="just">
              <a:buNone/>
            </a:pPr>
            <a:r>
              <a:rPr lang="en-US" sz="1800" b="1" dirty="0"/>
              <a:t>Key takeaways: </a:t>
            </a:r>
            <a:r>
              <a:rPr lang="en-US" sz="1800" dirty="0"/>
              <a:t>Business Partner (Customer and Vendor) can be created using Transaction code BP. Roles can be assigned in it. Material master can be created using MM01 and changed using MM02 and displayed using MM03.</a:t>
            </a:r>
          </a:p>
          <a:p>
            <a:pPr marL="0" indent="0" algn="just">
              <a:buNone/>
            </a:pPr>
            <a:endParaRPr lang="en-US" sz="1800" dirty="0"/>
          </a:p>
          <a:p>
            <a:pPr marL="0" indent="0" algn="just">
              <a:buNone/>
            </a:pPr>
            <a:r>
              <a:rPr lang="en-US" sz="1800" dirty="0"/>
              <a:t>Shell uses business partner data to centrally manage customer and vendor information, and material master data to streamline procurement and inventory processes</a:t>
            </a:r>
          </a:p>
          <a:p>
            <a:pPr marL="0" indent="0" algn="just">
              <a:buNone/>
            </a:pPr>
            <a:endParaRPr lang="en-US" sz="1800" b="1" dirty="0"/>
          </a:p>
          <a:p>
            <a:pPr marL="0" indent="0">
              <a:buNone/>
            </a:pPr>
            <a:endParaRPr lang="en-US" sz="1800"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15372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6147" name="Picture 3">
            <a:extLst>
              <a:ext uri="{FF2B5EF4-FFF2-40B4-BE49-F238E27FC236}">
                <a16:creationId xmlns:a16="http://schemas.microsoft.com/office/drawing/2014/main" id="{6A0EB1E3-613C-E338-3B95-197597E8DF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9" y="1860993"/>
            <a:ext cx="5349007" cy="4153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881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1800" b="1" dirty="0"/>
              <a:t>Key learnings: </a:t>
            </a:r>
            <a:r>
              <a:rPr lang="en-US" sz="1800" dirty="0"/>
              <a:t>I have learned Order to Cash flow that happens in Sales and Distribution module and also procure to pay flow that happens in Material Management module.</a:t>
            </a:r>
          </a:p>
          <a:p>
            <a:pPr marL="0" indent="0" algn="just">
              <a:buFont typeface="Arial" panose="020B0604020202020204" pitchFamily="34" charset="0"/>
              <a:buNone/>
            </a:pPr>
            <a:r>
              <a:rPr lang="en-US" sz="1800" b="1" dirty="0"/>
              <a:t>Key takeaways: </a:t>
            </a:r>
            <a:r>
              <a:rPr lang="en-US" sz="1800" dirty="0"/>
              <a:t>Order to Cash flow: Quotation -&gt; Sales Order -&gt; Goods issue -&gt; Invoice -&gt; Payment. Procure to Pay flow: Purchase Requisition -&gt; Request for Quotation -&gt; Purchase order -&gt; Goods Receive -&gt; Payment.</a:t>
            </a:r>
          </a:p>
          <a:p>
            <a:pPr marL="0" indent="0" algn="just">
              <a:buFont typeface="Arial" panose="020B0604020202020204" pitchFamily="34" charset="0"/>
              <a:buNone/>
            </a:pPr>
            <a:endParaRPr lang="en-US" sz="1800" dirty="0"/>
          </a:p>
          <a:p>
            <a:pPr marL="0" indent="0" algn="just">
              <a:buFont typeface="Arial" panose="020B0604020202020204" pitchFamily="34" charset="0"/>
              <a:buNone/>
            </a:pPr>
            <a:r>
              <a:rPr lang="en-US" sz="1800" dirty="0"/>
              <a:t>Shell uses the Order-to-Cash (OTC) process to manage customer orders and cash inflows, while the Procure-to-Pay (P2P) process handles sourcing, purchasing, and payments for goods and service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5122" name="Picture 2">
            <a:extLst>
              <a:ext uri="{FF2B5EF4-FFF2-40B4-BE49-F238E27FC236}">
                <a16:creationId xmlns:a16="http://schemas.microsoft.com/office/drawing/2014/main" id="{D4EEC21D-3F76-9809-81A4-979A3541448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9" y="1860993"/>
            <a:ext cx="5349007" cy="4089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112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t>SAP S/4 HANA simplifies business processes by integrating various functions into a single, unified system. This reduces complexity and enhances operational efficiency, allowing Shell India to focus on core business activities.</a:t>
            </a:r>
          </a:p>
          <a:p>
            <a:pPr marL="0" indent="0" algn="just">
              <a:buNone/>
            </a:pPr>
            <a:endParaRPr lang="en-US" sz="1800" dirty="0"/>
          </a:p>
          <a:p>
            <a:pPr marL="0" indent="0" algn="just">
              <a:buNone/>
            </a:pPr>
            <a:r>
              <a:rPr lang="en-US" sz="1800" dirty="0"/>
              <a:t>    The platform ensures that all departments and functions within Shell India are aligned. This alignment fosters better communication and collaboration across the enterprise, leading to more cohesive and strategic decision-mak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100" name="Picture 4" descr="Image result for shell using sap s4 hana">
            <a:extLst>
              <a:ext uri="{FF2B5EF4-FFF2-40B4-BE49-F238E27FC236}">
                <a16:creationId xmlns:a16="http://schemas.microsoft.com/office/drawing/2014/main" id="{B8D76FDF-8B83-BD2B-2F06-DDF659C2C67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9" y="1860992"/>
            <a:ext cx="5323029"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4"/>
            <a:ext cx="5653806" cy="4306126"/>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t>In SAP S/4HANA, Business Partner (BP) master data integrates customer and vendor data into a single entity, simplifying management and reducing redundancy1. This centralization ensures consistent and accurate data across various business functions, enhancing efficiency and decision-making2.</a:t>
            </a:r>
          </a:p>
          <a:p>
            <a:pPr marL="0" indent="0" algn="just">
              <a:buNone/>
            </a:pPr>
            <a:endParaRPr lang="en-US" sz="1800" dirty="0"/>
          </a:p>
          <a:p>
            <a:pPr marL="0" indent="0" algn="just">
              <a:buNone/>
            </a:pPr>
            <a:r>
              <a:rPr lang="en-US" sz="1800" dirty="0"/>
              <a:t>Material Master Data is crucial for managing product-related information, ensuring accurate inventory, procurement, and sales processes3. For a company like Shell, this integration supports streamlined operations, better data accuracy, and improved complian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10424" y="1870618"/>
            <a:ext cx="5350706" cy="4296502"/>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Image result for customer bp in sap">
            <a:extLst>
              <a:ext uri="{FF2B5EF4-FFF2-40B4-BE49-F238E27FC236}">
                <a16:creationId xmlns:a16="http://schemas.microsoft.com/office/drawing/2014/main" id="{037FB963-6BBA-3674-12B0-63B286E094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10424" y="1870618"/>
            <a:ext cx="5222776" cy="4296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d64320fb-f9a3-4131-8206-9d18da17abe9"/>
    <ds:schemaRef ds:uri="http://purl.org/dc/terms/"/>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489eda54-cdc8-4a48-94a2-8f9cf8024289"/>
    <ds:schemaRef ds:uri="http://purl.org/dc/dcmitype/"/>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761</TotalTime>
  <Words>1100</Words>
  <Application>Microsoft Office PowerPoint</Application>
  <PresentationFormat>Widescreen</PresentationFormat>
  <Paragraphs>96</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Jallipalli, Lakshmi Susmitha Jayasri SBOBNG-PTIY/AAF</cp:lastModifiedBy>
  <cp:revision>503</cp:revision>
  <dcterms:created xsi:type="dcterms:W3CDTF">2022-01-18T12:35:56Z</dcterms:created>
  <dcterms:modified xsi:type="dcterms:W3CDTF">2024-09-27T06:4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